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3"/>
  </p:notesMasterIdLst>
  <p:sldIdLst>
    <p:sldId id="2147475323" r:id="rId2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8025" autoAdjust="0"/>
    <p:restoredTop sz="94660"/>
  </p:normalViewPr>
  <p:slideViewPr>
    <p:cSldViewPr snapToGrid="0">
      <p:cViewPr varScale="1">
        <p:scale>
          <a:sx n="79" d="100"/>
          <a:sy n="79" d="100"/>
        </p:scale>
        <p:origin x="72" y="14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5C7AEAA-3EBE-48A1-986C-76B04ACB7E2D}" type="datetimeFigureOut">
              <a:rPr lang="en-US" smtClean="0"/>
              <a:t>8/27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946B4F1-1CC9-40DB-8155-F9A65FF1296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2077104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D54D94E-9256-B2B8-A3E5-6D41DBEE2DD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FBD34810-B531-845E-2EA7-699188B0590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0D4A19E1-3A63-60E0-1F89-9C6FA546F37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7C91148-0730-ACFE-5D9B-D52264797E7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62A0D1F-338E-554C-9FE8-32F4799B4DC0}" type="slidenum">
              <a:rPr kumimoji="0" lang="en-US" sz="12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8557489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Relationship Id="rId5" Type="http://schemas.openxmlformats.org/officeDocument/2006/relationships/image" Target="../media/image2.emf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4" Type="http://schemas.openxmlformats.org/officeDocument/2006/relationships/image" Target="../media/image1.emf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5.emf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CDAD1DC-5B39-23AA-823C-2575AE77A9A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1B11969-FA89-13A7-03FD-498498A97CC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177" indent="0" algn="ctr">
              <a:buNone/>
              <a:defRPr sz="2000"/>
            </a:lvl2pPr>
            <a:lvl3pPr marL="914355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3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7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52BAF73-AEAC-DCED-9E8C-9A6BF9F71CA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A097C-2413-4B10-874A-364B408CCC16}" type="datetimeFigureOut">
              <a:rPr lang="en-US" smtClean="0"/>
              <a:t>8/27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41F6F0A-F76F-DA7C-FD36-2C62067BF97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A6C3C7A-4A74-5F69-6C4A-1027504BA47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EDF751-E650-4174-8BE7-6149CB42849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8854159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3C22CE4-3621-4AD4-A504-4A899924D80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37F9C99F-D8CB-C534-8929-5017353F47F9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876D303-2419-13ED-F5F6-BC82214A1D5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A097C-2413-4B10-874A-364B408CCC16}" type="datetimeFigureOut">
              <a:rPr lang="en-US" smtClean="0"/>
              <a:t>8/27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A7C16C1-045D-7532-3163-E94FB8DF6CF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1BD8004-18D2-881D-FC88-8E5FFA41105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EDF751-E650-4174-8BE7-6149CB42849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77665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D4EA24C0-1935-4D25-40CB-AB05E5C365BD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B0117540-DE2D-A3E6-C899-CE9391915EC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E8E37F1-1556-A953-8452-6411DB9FEAF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A097C-2413-4B10-874A-364B408CCC16}" type="datetimeFigureOut">
              <a:rPr lang="en-US" smtClean="0"/>
              <a:t>8/27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5729748-9AC1-DBB2-27C6-5005F488F29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135F6F1-1182-6A83-6E32-E99A895775D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EDF751-E650-4174-8BE7-6149CB42849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2184744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&amp; picture -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DED2F203-B30E-8D19-506A-B5B93A26E62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27" imgH="327" progId="TCLayout.ActiveDocument.1">
                  <p:embed/>
                </p:oleObj>
              </mc:Choice>
              <mc:Fallback>
                <p:oleObj name="think-cell Slide" r:id="rId3" imgW="327" imgH="327" progId="TCLayout.ActiveDocument.1">
                  <p:embed/>
                  <p:pic>
                    <p:nvPicPr>
                      <p:cNvPr id="12" name="Object 11" hidden="1">
                        <a:extLst>
                          <a:ext uri="{FF2B5EF4-FFF2-40B4-BE49-F238E27FC236}">
                            <a16:creationId xmlns:a16="http://schemas.microsoft.com/office/drawing/2014/main" id="{DED2F203-B30E-8D19-506A-B5B93A26E62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ijdelijke aanduiding voor afbeelding 10">
            <a:extLst>
              <a:ext uri="{FF2B5EF4-FFF2-40B4-BE49-F238E27FC236}">
                <a16:creationId xmlns:a16="http://schemas.microsoft.com/office/drawing/2014/main" id="{CEFED81F-1D5B-9360-7B23-5D0BF1D35715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572376" y="1089026"/>
            <a:ext cx="3527425" cy="4680000"/>
          </a:xfrm>
          <a:solidFill>
            <a:schemeClr val="bg2">
              <a:lumMod val="95000"/>
            </a:schemeClr>
          </a:solidFill>
        </p:spPr>
        <p:txBody>
          <a:bodyPr lIns="792000" tIns="0" rIns="792000" bIns="0" anchor="ctr" anchorCtr="0"/>
          <a:lstStyle>
            <a:lvl1pPr algn="ctr">
              <a:defRPr sz="1000"/>
            </a:lvl1pPr>
          </a:lstStyle>
          <a:p>
            <a:r>
              <a:rPr lang="en-GB"/>
              <a:t>TO INSERT AN IMAGE: </a:t>
            </a:r>
            <a:br>
              <a:rPr lang="en-GB"/>
            </a:br>
            <a:r>
              <a:rPr lang="en-GB"/>
              <a:t>SELECT THIS GREY AREA </a:t>
            </a:r>
            <a:br>
              <a:rPr lang="en-GB"/>
            </a:br>
            <a:r>
              <a:rPr lang="en-GB"/>
              <a:t>CLICK IN THE RIBBON ON 'INSERT' - 'PICTURES’ </a:t>
            </a:r>
            <a:br>
              <a:rPr lang="en-GB"/>
            </a:br>
            <a:r>
              <a:rPr lang="en-GB"/>
              <a:t>SELECT A PHOTO OR IMAGE VIA THE EXPLORER AND CLICK ON 'INSERT' 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2C83D43-8C04-86DF-804D-F7E021360A2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379537" y="1076994"/>
            <a:ext cx="5761037" cy="621965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GB"/>
              <a:t>Title</a:t>
            </a:r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8A4F03D3-B983-16A7-44C0-E015CA237A6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8E2248A4-6129-0580-C6EE-460E719020C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829201" y="6623716"/>
            <a:ext cx="104195" cy="92333"/>
          </a:xfrm>
        </p:spPr>
        <p:txBody>
          <a:bodyPr/>
          <a:lstStyle/>
          <a:p>
            <a:fld id="{8008FCDA-A3A7-43F4-A886-F9C970867285}" type="slidenum">
              <a:rPr lang="en-GB" smtClean="0"/>
              <a:t>‹#›</a:t>
            </a:fld>
            <a:endParaRPr lang="en-GB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78FB57FB-C900-00FA-75A2-FDBAEA5DA33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379537" y="2636839"/>
            <a:ext cx="5761037" cy="3132137"/>
          </a:xfrm>
        </p:spPr>
        <p:txBody>
          <a:bodyPr numCol="1" spcCol="396000"/>
          <a:lstStyle>
            <a:lvl1pPr>
              <a:defRPr/>
            </a:lvl1pPr>
          </a:lstStyle>
          <a:p>
            <a:pPr lvl="0"/>
            <a:r>
              <a:rPr lang="en-US"/>
              <a:t>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144281DA-F947-CAD7-868D-15445FE53EBF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1379537" y="1686244"/>
            <a:ext cx="5761037" cy="731547"/>
          </a:xfrm>
        </p:spPr>
        <p:txBody>
          <a:bodyPr wrap="square" anchor="t" anchorCtr="0">
            <a:spAutoFit/>
          </a:bodyPr>
          <a:lstStyle>
            <a:lvl1pPr marL="0" indent="0">
              <a:lnSpc>
                <a:spcPct val="80000"/>
              </a:lnSpc>
              <a:spcAft>
                <a:spcPts val="0"/>
              </a:spcAft>
              <a:buNone/>
              <a:defRPr sz="5000" b="0">
                <a:solidFill>
                  <a:schemeClr val="accent2"/>
                </a:solidFill>
                <a:latin typeface="+mj-lt"/>
              </a:defRPr>
            </a:lvl1pPr>
            <a:lvl2pPr marL="457177" indent="0">
              <a:buNone/>
              <a:defRPr sz="2000" b="1"/>
            </a:lvl2pPr>
            <a:lvl3pPr marL="914355" indent="0">
              <a:buNone/>
              <a:defRPr sz="1800" b="1"/>
            </a:lvl3pPr>
            <a:lvl4pPr marL="1371532" indent="0">
              <a:buNone/>
              <a:defRPr sz="1600" b="1"/>
            </a:lvl4pPr>
            <a:lvl5pPr marL="1828709" indent="0">
              <a:buNone/>
              <a:defRPr sz="1600" b="1"/>
            </a:lvl5pPr>
            <a:lvl6pPr marL="2285886" indent="0">
              <a:buNone/>
              <a:defRPr sz="1600" b="1"/>
            </a:lvl6pPr>
            <a:lvl7pPr marL="2743063" indent="0">
              <a:buNone/>
              <a:defRPr sz="1600" b="1"/>
            </a:lvl7pPr>
            <a:lvl8pPr marL="3200240" indent="0">
              <a:buNone/>
              <a:defRPr sz="1600" b="1"/>
            </a:lvl8pPr>
            <a:lvl9pPr marL="3657417" indent="0">
              <a:buNone/>
              <a:defRPr sz="1600" b="1"/>
            </a:lvl9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D1E7F341-15C5-F6F6-BE71-D531B6721150}"/>
              </a:ext>
            </a:extLst>
          </p:cNvPr>
          <p:cNvSpPr>
            <a:spLocks noGrp="1" noChangeAspect="1"/>
          </p:cNvSpPr>
          <p:nvPr>
            <p:ph type="body" sz="quarter" idx="14" hasCustomPrompt="1"/>
          </p:nvPr>
        </p:nvSpPr>
        <p:spPr>
          <a:xfrm>
            <a:off x="7860087" y="1371626"/>
            <a:ext cx="2952000" cy="4114800"/>
          </a:xfrm>
          <a:blipFill dpi="0"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algn="ctr">
              <a:defRPr sz="100">
                <a:solidFill>
                  <a:schemeClr val="tx1"/>
                </a:solidFill>
              </a:defRPr>
            </a:lvl1pPr>
            <a:lvl5pPr>
              <a:defRPr/>
            </a:lvl5pPr>
          </a:lstStyle>
          <a:p>
            <a:pPr lvl="0"/>
            <a:r>
              <a:rPr lang="nl-NL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5439918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8995">
          <p15:clr>
            <a:srgbClr val="FBAE40"/>
          </p15:clr>
        </p15:guide>
        <p15:guide id="2" pos="9539">
          <p15:clr>
            <a:srgbClr val="FBAE40"/>
          </p15:clr>
        </p15:guide>
        <p15:guide id="3" pos="13983">
          <p15:clr>
            <a:srgbClr val="FBAE40"/>
          </p15:clr>
        </p15:guide>
        <p15:guide id="4" orient="horz" pos="3322">
          <p15:clr>
            <a:srgbClr val="FBAE40"/>
          </p15:clr>
        </p15:guide>
        <p15:guide id="5" pos="1738">
          <p15:clr>
            <a:srgbClr val="FBAE40"/>
          </p15:clr>
        </p15:guide>
        <p15:guide id="6" orient="horz" pos="7268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ols | Video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264149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27A1ABE-8331-332D-737F-158FC34AD0B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4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15E8AC8-1383-4EE2-50C6-07DD0817A4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9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155" indent="0" algn="ctr">
              <a:buNone/>
              <a:defRPr sz="2000"/>
            </a:lvl2pPr>
            <a:lvl3pPr marL="914309" indent="0" algn="ctr">
              <a:buNone/>
              <a:defRPr sz="1800"/>
            </a:lvl3pPr>
            <a:lvl4pPr marL="1371463" indent="0" algn="ctr">
              <a:buNone/>
              <a:defRPr sz="1600"/>
            </a:lvl4pPr>
            <a:lvl5pPr marL="1828617" indent="0" algn="ctr">
              <a:buNone/>
              <a:defRPr sz="1600"/>
            </a:lvl5pPr>
            <a:lvl6pPr marL="2285772" indent="0" algn="ctr">
              <a:buNone/>
              <a:defRPr sz="1600"/>
            </a:lvl6pPr>
            <a:lvl7pPr marL="2742926" indent="0" algn="ctr">
              <a:buNone/>
              <a:defRPr sz="1600"/>
            </a:lvl7pPr>
            <a:lvl8pPr marL="3200080" indent="0" algn="ctr">
              <a:buNone/>
              <a:defRPr sz="1600"/>
            </a:lvl8pPr>
            <a:lvl9pPr marL="3657234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E0EA41E-2120-DECA-D2C5-81844960C8F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2488D3D-1E4C-1A4B-BF98-F639B26EF5E6}" type="datetimeFigureOut">
              <a:rPr lang="en-US" smtClean="0"/>
              <a:t>8/27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B9A4E4C-B353-4D8E-BE01-9559AB02D85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E301DC1-0D55-73E2-1272-87B500E4BE7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F0F3D4B-2AE7-A04C-8911-21820D37180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1732217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69D27F2-FB6C-69CD-89A8-BC0762CBA2B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ECB8CD0-08AD-1BA8-124E-D77A305BE5C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ED3D914-9076-A525-ACBB-5EAE778410C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2488D3D-1E4C-1A4B-BF98-F639B26EF5E6}" type="datetimeFigureOut">
              <a:rPr lang="en-US" smtClean="0"/>
              <a:t>8/27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B9D4C5F-D175-E7FE-F208-7548ABECD3C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A9AEDCC-7AF6-AA04-1DDA-BE59872EF8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F0F3D4B-2AE7-A04C-8911-21820D37180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649242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2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EC8BB51-843B-407A-EE4A-8C4FF50A21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9"/>
            <a:ext cx="10515600" cy="2852738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B3164EC-9BBC-2491-7C6C-DB0BC84FFCF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4"/>
            <a:ext cx="10515600" cy="1500188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82000"/>
                  </a:schemeClr>
                </a:solidFill>
              </a:defRPr>
            </a:lvl1pPr>
            <a:lvl2pPr marL="457155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309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463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617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5772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2926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08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234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B3087A5-7E96-0770-BA97-06D886EAE77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2488D3D-1E4C-1A4B-BF98-F639B26EF5E6}" type="datetimeFigureOut">
              <a:rPr lang="en-US" smtClean="0"/>
              <a:t>8/27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B355176-EA78-294B-79C3-6A41B7D1DF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6533949-6DB9-3E42-F648-445C5759162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F0F3D4B-2AE7-A04C-8911-21820D37180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2525695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C209D24-0936-4C5F-D937-A913FA90027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D9DD463-8F1C-F90D-E1EC-2C40D29BA8FC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7D1DD7F-4683-5929-B356-B3D9DE94D79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CA653BE-3B44-0A82-98EF-CAADEED1753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2488D3D-1E4C-1A4B-BF98-F639B26EF5E6}" type="datetimeFigureOut">
              <a:rPr lang="en-US" smtClean="0"/>
              <a:t>8/27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3783BC1-F502-4A02-B0C6-057A4D447A6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0CDC60D-048F-FBCC-9975-FB522BBAFCE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F0F3D4B-2AE7-A04C-8911-21820D37180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9519163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2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7BFF0CF-4BF6-FD06-DA14-C0DDB7FEF9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6"/>
            <a:ext cx="10515600" cy="1325564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6437CE3-B19F-9345-650D-9134E82F891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90" y="1681164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55" indent="0">
              <a:buNone/>
              <a:defRPr sz="2000" b="1"/>
            </a:lvl2pPr>
            <a:lvl3pPr marL="914309" indent="0">
              <a:buNone/>
              <a:defRPr sz="1800" b="1"/>
            </a:lvl3pPr>
            <a:lvl4pPr marL="1371463" indent="0">
              <a:buNone/>
              <a:defRPr sz="1600" b="1"/>
            </a:lvl4pPr>
            <a:lvl5pPr marL="1828617" indent="0">
              <a:buNone/>
              <a:defRPr sz="1600" b="1"/>
            </a:lvl5pPr>
            <a:lvl6pPr marL="2285772" indent="0">
              <a:buNone/>
              <a:defRPr sz="1600" b="1"/>
            </a:lvl6pPr>
            <a:lvl7pPr marL="2742926" indent="0">
              <a:buNone/>
              <a:defRPr sz="1600" b="1"/>
            </a:lvl7pPr>
            <a:lvl8pPr marL="3200080" indent="0">
              <a:buNone/>
              <a:defRPr sz="1600" b="1"/>
            </a:lvl8pPr>
            <a:lvl9pPr marL="3657234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E704110-8553-AB41-F1E9-4D8AF3C6FD7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90" y="2505076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22AC8DA-61CB-6261-43E8-419D33211EF1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4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55" indent="0">
              <a:buNone/>
              <a:defRPr sz="2000" b="1"/>
            </a:lvl2pPr>
            <a:lvl3pPr marL="914309" indent="0">
              <a:buNone/>
              <a:defRPr sz="1800" b="1"/>
            </a:lvl3pPr>
            <a:lvl4pPr marL="1371463" indent="0">
              <a:buNone/>
              <a:defRPr sz="1600" b="1"/>
            </a:lvl4pPr>
            <a:lvl5pPr marL="1828617" indent="0">
              <a:buNone/>
              <a:defRPr sz="1600" b="1"/>
            </a:lvl5pPr>
            <a:lvl6pPr marL="2285772" indent="0">
              <a:buNone/>
              <a:defRPr sz="1600" b="1"/>
            </a:lvl6pPr>
            <a:lvl7pPr marL="2742926" indent="0">
              <a:buNone/>
              <a:defRPr sz="1600" b="1"/>
            </a:lvl7pPr>
            <a:lvl8pPr marL="3200080" indent="0">
              <a:buNone/>
              <a:defRPr sz="1600" b="1"/>
            </a:lvl8pPr>
            <a:lvl9pPr marL="3657234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5251E4B-50C2-7A38-67F7-FDF33F858849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6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AD0A9B7C-B344-2714-B1E9-B1AE55BCF25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2488D3D-1E4C-1A4B-BF98-F639B26EF5E6}" type="datetimeFigureOut">
              <a:rPr lang="en-US" smtClean="0"/>
              <a:t>8/27/2025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1A15389A-8E28-F807-72C5-8628B20C944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3515E047-001B-EEA0-85C1-4AA21312E7F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F0F3D4B-2AE7-A04C-8911-21820D37180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5501651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5E0ADC1-EFE2-ED1E-0459-B3566D65F62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5339B67-F998-603F-6A37-D0D115EFEBB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2488D3D-1E4C-1A4B-BF98-F639B26EF5E6}" type="datetimeFigureOut">
              <a:rPr lang="en-US" smtClean="0"/>
              <a:t>8/27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43E9CE6-3F60-DB72-8CD5-0DCAD7099B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08DFB97-105D-D73A-223D-57191CD4BFF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F0F3D4B-2AE7-A04C-8911-21820D37180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0191887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3E1EE20-FAF6-8C5C-CC98-D8862676A1E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009690C-C4A1-944D-E736-5CBDEFF0F7F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A7A1911-DC5E-B010-AFE3-C5CCDE5D649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A097C-2413-4B10-874A-364B408CCC16}" type="datetimeFigureOut">
              <a:rPr lang="en-US" smtClean="0"/>
              <a:t>8/27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CF1B6C5-1845-47A9-72B0-48DB28431B6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D00AF14-AB13-30DF-B6A0-578F79810C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EDF751-E650-4174-8BE7-6149CB42849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2864271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3E544762-1CEC-CF2D-E6E7-935C967A39B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2488D3D-1E4C-1A4B-BF98-F639B26EF5E6}" type="datetimeFigureOut">
              <a:rPr lang="en-US" smtClean="0"/>
              <a:t>8/2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D77093E-2479-E199-5E89-69C4E15C96A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53A9331-5DD5-54A5-88E5-A9BF58E0DEB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F0F3D4B-2AE7-A04C-8911-21820D37180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86496785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2_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26668FF-71FE-1A32-57D4-A6A2B3F3A41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9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1E06E13-15C1-B7A7-69D4-85335F520DB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6"/>
            <a:ext cx="6172200" cy="4873626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57DBA34-4C55-63F3-7DA6-BBD997F04A4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9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155" indent="0">
              <a:buNone/>
              <a:defRPr sz="1400"/>
            </a:lvl2pPr>
            <a:lvl3pPr marL="914309" indent="0">
              <a:buNone/>
              <a:defRPr sz="1200"/>
            </a:lvl3pPr>
            <a:lvl4pPr marL="1371463" indent="0">
              <a:buNone/>
              <a:defRPr sz="1000"/>
            </a:lvl4pPr>
            <a:lvl5pPr marL="1828617" indent="0">
              <a:buNone/>
              <a:defRPr sz="1000"/>
            </a:lvl5pPr>
            <a:lvl6pPr marL="2285772" indent="0">
              <a:buNone/>
              <a:defRPr sz="1000"/>
            </a:lvl6pPr>
            <a:lvl7pPr marL="2742926" indent="0">
              <a:buNone/>
              <a:defRPr sz="1000"/>
            </a:lvl7pPr>
            <a:lvl8pPr marL="3200080" indent="0">
              <a:buNone/>
              <a:defRPr sz="1000"/>
            </a:lvl8pPr>
            <a:lvl9pPr marL="3657234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CDB6606-C12B-16FA-6D46-8C68D75916C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2488D3D-1E4C-1A4B-BF98-F639B26EF5E6}" type="datetimeFigureOut">
              <a:rPr lang="en-US" smtClean="0"/>
              <a:t>8/27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8A3D68D-7D02-350F-7AFE-0B1C038F52B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7F52CFD-8AD1-7ED9-4C3F-8CB6E8405DA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F0F3D4B-2AE7-A04C-8911-21820D37180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70627099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2_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2524197-2B68-238B-8E2E-E31446D96F9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9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0770800C-9350-510B-3665-2DB4EC628C2C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6"/>
            <a:ext cx="6172200" cy="4873626"/>
          </a:xfrm>
        </p:spPr>
        <p:txBody>
          <a:bodyPr/>
          <a:lstStyle>
            <a:lvl1pPr marL="0" indent="0">
              <a:buNone/>
              <a:defRPr sz="3200"/>
            </a:lvl1pPr>
            <a:lvl2pPr marL="457155" indent="0">
              <a:buNone/>
              <a:defRPr sz="2800"/>
            </a:lvl2pPr>
            <a:lvl3pPr marL="914309" indent="0">
              <a:buNone/>
              <a:defRPr sz="2400"/>
            </a:lvl3pPr>
            <a:lvl4pPr marL="1371463" indent="0">
              <a:buNone/>
              <a:defRPr sz="2000"/>
            </a:lvl4pPr>
            <a:lvl5pPr marL="1828617" indent="0">
              <a:buNone/>
              <a:defRPr sz="2000"/>
            </a:lvl5pPr>
            <a:lvl6pPr marL="2285772" indent="0">
              <a:buNone/>
              <a:defRPr sz="2000"/>
            </a:lvl6pPr>
            <a:lvl7pPr marL="2742926" indent="0">
              <a:buNone/>
              <a:defRPr sz="2000"/>
            </a:lvl7pPr>
            <a:lvl8pPr marL="3200080" indent="0">
              <a:buNone/>
              <a:defRPr sz="2000"/>
            </a:lvl8pPr>
            <a:lvl9pPr marL="3657234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6C65D76-04D9-44C2-B86C-7D91633D823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9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155" indent="0">
              <a:buNone/>
              <a:defRPr sz="1400"/>
            </a:lvl2pPr>
            <a:lvl3pPr marL="914309" indent="0">
              <a:buNone/>
              <a:defRPr sz="1200"/>
            </a:lvl3pPr>
            <a:lvl4pPr marL="1371463" indent="0">
              <a:buNone/>
              <a:defRPr sz="1000"/>
            </a:lvl4pPr>
            <a:lvl5pPr marL="1828617" indent="0">
              <a:buNone/>
              <a:defRPr sz="1000"/>
            </a:lvl5pPr>
            <a:lvl6pPr marL="2285772" indent="0">
              <a:buNone/>
              <a:defRPr sz="1000"/>
            </a:lvl6pPr>
            <a:lvl7pPr marL="2742926" indent="0">
              <a:buNone/>
              <a:defRPr sz="1000"/>
            </a:lvl7pPr>
            <a:lvl8pPr marL="3200080" indent="0">
              <a:buNone/>
              <a:defRPr sz="1000"/>
            </a:lvl8pPr>
            <a:lvl9pPr marL="3657234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F63C9DE-6568-5191-D9C8-05498B72B1E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2488D3D-1E4C-1A4B-BF98-F639B26EF5E6}" type="datetimeFigureOut">
              <a:rPr lang="en-US" smtClean="0"/>
              <a:t>8/27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F5ED16E-FA65-A8F6-81CE-781B71679D2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E7BBD14-0129-304B-13A7-46E224DE40A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F0F3D4B-2AE7-A04C-8911-21820D37180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26694786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2_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652AFD3-873E-6D1D-A938-51441CD8F3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59B97CF7-0625-79CF-EC2B-005217B16962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A55A52A-638E-4978-49F0-3D6DA68D8B9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2488D3D-1E4C-1A4B-BF98-F639B26EF5E6}" type="datetimeFigureOut">
              <a:rPr lang="en-US" smtClean="0"/>
              <a:t>8/27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7FFEBCA-4C5D-23E0-A070-EEE4AE4E492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C93481F-A1FD-77F2-A7F7-44AD4FF5EED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F0F3D4B-2AE7-A04C-8911-21820D37180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6779377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2_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9020B896-564F-9C3C-C475-749B9612861D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6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C5033EB7-BE86-C2CD-2C91-97A434FF9A2E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6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B35FCE1-CCB5-EFBB-E178-8BC7176FDEB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2488D3D-1E4C-1A4B-BF98-F639B26EF5E6}" type="datetimeFigureOut">
              <a:rPr lang="en-US" smtClean="0"/>
              <a:t>8/27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C8B57D6-CD94-E484-56A0-77FF97A9E41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BB79515-754B-7177-0A40-514A71B883D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F0F3D4B-2AE7-A04C-8911-21820D37180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64746129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977026D-FB99-07A3-234C-3463D0A482D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E33BCD29-2CA1-FB31-404C-73E0D0F36CB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177" indent="0" algn="ctr">
              <a:buNone/>
              <a:defRPr sz="2000"/>
            </a:lvl2pPr>
            <a:lvl3pPr marL="914355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3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7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CA3C368-180C-5F02-FDFD-C98B7EDB3B7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E78EECE-4908-4F6A-8EF1-B5F626ED3F7E}" type="datetimeFigureOut">
              <a:rPr lang="en-US" smtClean="0"/>
              <a:t>8/27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C6D7C3D-200F-4AD9-AAC4-6A2A11CBBF5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BDDEAC0-EF4C-9C68-53F4-D0CC21995EE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9974D8-9C2F-45C0-A346-23131654381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53781129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3299329-39CA-E3FC-F202-4E2B343DEC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A865A4F-41DE-D12D-B304-75E3A7CE3DB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1257D0F-EDAE-F892-F330-3BFA9F31632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E78EECE-4908-4F6A-8EF1-B5F626ED3F7E}" type="datetimeFigureOut">
              <a:rPr lang="en-US" smtClean="0"/>
              <a:t>8/27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C096F4C-A7FC-223D-E281-ACD31F40261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5D93679-F511-7BA5-E2E0-7760723B05C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9974D8-9C2F-45C0-A346-23131654381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91236816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3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E5C2538-2509-FBFC-EAEE-B1A6C5ED30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9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E82EC26-8B55-BEF1-3B0C-FBE7D97CD10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4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82000"/>
                  </a:schemeClr>
                </a:solidFill>
              </a:defRPr>
            </a:lvl1pPr>
            <a:lvl2pPr marL="457177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355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532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709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5886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063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24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417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8E49317-E98C-4FB2-DC38-94E25BFFD5E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E78EECE-4908-4F6A-8EF1-B5F626ED3F7E}" type="datetimeFigureOut">
              <a:rPr lang="en-US" smtClean="0"/>
              <a:t>8/27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9C0FABD-46D1-3A76-210B-3D8C46CDBE1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2EE24FE-A711-4FB7-2AF9-3D907F2C389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9974D8-9C2F-45C0-A346-23131654381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57100215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3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7EF39EB-7CCA-F49E-987A-231FEA56DEF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E28FEB8-A351-2E1D-FC71-D74E7DF96073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2C64AE6-C675-1BD4-71BC-8D7416D864E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3B32E99-8B5E-B7D5-7AA8-3FEDAC9F80D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E78EECE-4908-4F6A-8EF1-B5F626ED3F7E}" type="datetimeFigureOut">
              <a:rPr lang="en-US" smtClean="0"/>
              <a:t>8/27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3E3A680-BC6E-F288-7F05-507B72B37E2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E17AB51-0396-76BD-D105-D812397DC61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9974D8-9C2F-45C0-A346-23131654381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41251846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3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922F30D-7C3D-6D6B-5DC6-EC1B72C428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6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2B51196-0740-6AF3-952D-A0232DCBB91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9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77" indent="0">
              <a:buNone/>
              <a:defRPr sz="2000" b="1"/>
            </a:lvl2pPr>
            <a:lvl3pPr marL="914355" indent="0">
              <a:buNone/>
              <a:defRPr sz="1800" b="1"/>
            </a:lvl3pPr>
            <a:lvl4pPr marL="1371532" indent="0">
              <a:buNone/>
              <a:defRPr sz="1600" b="1"/>
            </a:lvl4pPr>
            <a:lvl5pPr marL="1828709" indent="0">
              <a:buNone/>
              <a:defRPr sz="1600" b="1"/>
            </a:lvl5pPr>
            <a:lvl6pPr marL="2285886" indent="0">
              <a:buNone/>
              <a:defRPr sz="1600" b="1"/>
            </a:lvl6pPr>
            <a:lvl7pPr marL="2743063" indent="0">
              <a:buNone/>
              <a:defRPr sz="1600" b="1"/>
            </a:lvl7pPr>
            <a:lvl8pPr marL="3200240" indent="0">
              <a:buNone/>
              <a:defRPr sz="1600" b="1"/>
            </a:lvl8pPr>
            <a:lvl9pPr marL="3657417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135EA837-1C95-8BDF-4AEB-9353DC88A65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9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34BB340-828A-4FA5-3CD9-94E370F44EAD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77" indent="0">
              <a:buNone/>
              <a:defRPr sz="2000" b="1"/>
            </a:lvl2pPr>
            <a:lvl3pPr marL="914355" indent="0">
              <a:buNone/>
              <a:defRPr sz="1800" b="1"/>
            </a:lvl3pPr>
            <a:lvl4pPr marL="1371532" indent="0">
              <a:buNone/>
              <a:defRPr sz="1600" b="1"/>
            </a:lvl4pPr>
            <a:lvl5pPr marL="1828709" indent="0">
              <a:buNone/>
              <a:defRPr sz="1600" b="1"/>
            </a:lvl5pPr>
            <a:lvl6pPr marL="2285886" indent="0">
              <a:buNone/>
              <a:defRPr sz="1600" b="1"/>
            </a:lvl6pPr>
            <a:lvl7pPr marL="2743063" indent="0">
              <a:buNone/>
              <a:defRPr sz="1600" b="1"/>
            </a:lvl7pPr>
            <a:lvl8pPr marL="3200240" indent="0">
              <a:buNone/>
              <a:defRPr sz="1600" b="1"/>
            </a:lvl8pPr>
            <a:lvl9pPr marL="3657417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73FDF298-73C7-2DEB-60AB-39F68CE68564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D45317B8-AF23-B04F-0C50-B2610C2AD57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E78EECE-4908-4F6A-8EF1-B5F626ED3F7E}" type="datetimeFigureOut">
              <a:rPr lang="en-US" smtClean="0"/>
              <a:t>8/27/2025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D2E4EA74-8B71-EE97-DEC2-EEC67E19C54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82013036-32D5-5928-D301-19FA9B1FC53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9974D8-9C2F-45C0-A346-23131654381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1841797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A43E8C2-B497-7837-F64E-36898E62D2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9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5B9B21B-7969-87C8-07BF-55D82827C0C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4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82000"/>
                  </a:schemeClr>
                </a:solidFill>
              </a:defRPr>
            </a:lvl1pPr>
            <a:lvl2pPr marL="457177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355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532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709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5886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063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24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417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F4EEAA5-14C0-D14D-D852-8D0C261507E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A097C-2413-4B10-874A-364B408CCC16}" type="datetimeFigureOut">
              <a:rPr lang="en-US" smtClean="0"/>
              <a:t>8/27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A2445F1-4D46-4EFF-6B69-5AB585A6901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B3D6860-A444-A657-E62C-148FFCDDEB1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EDF751-E650-4174-8BE7-6149CB42849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98611340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4A6E174-8B07-62D7-C9CF-BC3EC56D862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862075C-EEB3-C544-9B69-C0EC9440855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E78EECE-4908-4F6A-8EF1-B5F626ED3F7E}" type="datetimeFigureOut">
              <a:rPr lang="en-US" smtClean="0"/>
              <a:t>8/27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073EA33-9E74-0413-5FAA-673801F2F9E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DED387C-867E-DF02-743B-9D76E4A0235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9974D8-9C2F-45C0-A346-23131654381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84539831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B4C33BD2-0969-B3C8-69C5-5C53FDBCEE8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E78EECE-4908-4F6A-8EF1-B5F626ED3F7E}" type="datetimeFigureOut">
              <a:rPr lang="en-US" smtClean="0"/>
              <a:t>8/2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07CB9EB-D795-7588-9A24-D4213BBFD4C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A8E9CBC-693F-F338-96FF-73E50B239F3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9974D8-9C2F-45C0-A346-23131654381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67556954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3_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25E1AD5-E34C-6933-9EBB-536933FECDF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9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0EDF983-9583-0BAC-ACDA-712B29FB50C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6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79B9645-F838-715D-9A25-2B42F9F5D2C7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9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177" indent="0">
              <a:buNone/>
              <a:defRPr sz="1400"/>
            </a:lvl2pPr>
            <a:lvl3pPr marL="914355" indent="0">
              <a:buNone/>
              <a:defRPr sz="1200"/>
            </a:lvl3pPr>
            <a:lvl4pPr marL="1371532" indent="0">
              <a:buNone/>
              <a:defRPr sz="1000"/>
            </a:lvl4pPr>
            <a:lvl5pPr marL="1828709" indent="0">
              <a:buNone/>
              <a:defRPr sz="1000"/>
            </a:lvl5pPr>
            <a:lvl6pPr marL="2285886" indent="0">
              <a:buNone/>
              <a:defRPr sz="1000"/>
            </a:lvl6pPr>
            <a:lvl7pPr marL="2743063" indent="0">
              <a:buNone/>
              <a:defRPr sz="1000"/>
            </a:lvl7pPr>
            <a:lvl8pPr marL="3200240" indent="0">
              <a:buNone/>
              <a:defRPr sz="1000"/>
            </a:lvl8pPr>
            <a:lvl9pPr marL="3657417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86A5793-4414-D43F-2F86-7B7CC21CC6B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E78EECE-4908-4F6A-8EF1-B5F626ED3F7E}" type="datetimeFigureOut">
              <a:rPr lang="en-US" smtClean="0"/>
              <a:t>8/27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2EA27B8-F09E-9FB4-D61D-028DEDA7ACC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85AC3BC-2F99-AAEE-3F96-E12ADBACAE1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9974D8-9C2F-45C0-A346-23131654381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92351514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3_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B3A904D-8CAC-C083-6B55-98C1ABB4005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9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3DCE1CC8-D1C7-236A-6D90-0F6D87F6A375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6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177" indent="0">
              <a:buNone/>
              <a:defRPr sz="2800"/>
            </a:lvl2pPr>
            <a:lvl3pPr marL="914355" indent="0">
              <a:buNone/>
              <a:defRPr sz="2400"/>
            </a:lvl3pPr>
            <a:lvl4pPr marL="1371532" indent="0">
              <a:buNone/>
              <a:defRPr sz="2000"/>
            </a:lvl4pPr>
            <a:lvl5pPr marL="1828709" indent="0">
              <a:buNone/>
              <a:defRPr sz="2000"/>
            </a:lvl5pPr>
            <a:lvl6pPr marL="2285886" indent="0">
              <a:buNone/>
              <a:defRPr sz="2000"/>
            </a:lvl6pPr>
            <a:lvl7pPr marL="2743063" indent="0">
              <a:buNone/>
              <a:defRPr sz="2000"/>
            </a:lvl7pPr>
            <a:lvl8pPr marL="3200240" indent="0">
              <a:buNone/>
              <a:defRPr sz="2000"/>
            </a:lvl8pPr>
            <a:lvl9pPr marL="3657417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8C0436E-7A32-AFE1-1FDE-7FF94A3F2D2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9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177" indent="0">
              <a:buNone/>
              <a:defRPr sz="1400"/>
            </a:lvl2pPr>
            <a:lvl3pPr marL="914355" indent="0">
              <a:buNone/>
              <a:defRPr sz="1200"/>
            </a:lvl3pPr>
            <a:lvl4pPr marL="1371532" indent="0">
              <a:buNone/>
              <a:defRPr sz="1000"/>
            </a:lvl4pPr>
            <a:lvl5pPr marL="1828709" indent="0">
              <a:buNone/>
              <a:defRPr sz="1000"/>
            </a:lvl5pPr>
            <a:lvl6pPr marL="2285886" indent="0">
              <a:buNone/>
              <a:defRPr sz="1000"/>
            </a:lvl6pPr>
            <a:lvl7pPr marL="2743063" indent="0">
              <a:buNone/>
              <a:defRPr sz="1000"/>
            </a:lvl7pPr>
            <a:lvl8pPr marL="3200240" indent="0">
              <a:buNone/>
              <a:defRPr sz="1000"/>
            </a:lvl8pPr>
            <a:lvl9pPr marL="3657417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460864E-23E1-E213-4011-25E6169BDDC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E78EECE-4908-4F6A-8EF1-B5F626ED3F7E}" type="datetimeFigureOut">
              <a:rPr lang="en-US" smtClean="0"/>
              <a:t>8/27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A562FB0-F359-02C0-6631-B531251BA5F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BFA3843-8ABB-AB98-8077-81953A47F8D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9974D8-9C2F-45C0-A346-23131654381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61019461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3_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3425CA8-E7E8-DB0E-81D0-EA1817E706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1535E698-C6E1-AE93-F5A7-D9CEC237CFE9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587227E-A23B-BD3D-47AB-8C626ED5734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E78EECE-4908-4F6A-8EF1-B5F626ED3F7E}" type="datetimeFigureOut">
              <a:rPr lang="en-US" smtClean="0"/>
              <a:t>8/27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B9109CE-2BE0-E3AA-E2BC-589C3BE1546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274503A-39CE-F093-5302-5BB57164332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9974D8-9C2F-45C0-A346-23131654381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61191399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3_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FDC13C26-9A17-5906-91B4-FAA5D7C8C5B9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06C025EC-594B-ACC5-8B76-6EF27BF363A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C2EFE88-00EB-9270-678D-EA846573837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E78EECE-4908-4F6A-8EF1-B5F626ED3F7E}" type="datetimeFigureOut">
              <a:rPr lang="en-US" smtClean="0"/>
              <a:t>8/27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AAABBCE-AE7D-BB92-F798-BEB0C2E4C82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B87D278-A7DC-7CC1-C9FD-1D9C696F9C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9974D8-9C2F-45C0-A346-23131654381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36854780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wo Content copy 1" userDrawn="1">
  <p:cSld name="Two Content copy 1">
    <p:spTree>
      <p:nvGrpSpPr>
        <p:cNvPr id="1" name="Shape 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magine 3">
            <a:extLst>
              <a:ext uri="{FF2B5EF4-FFF2-40B4-BE49-F238E27FC236}">
                <a16:creationId xmlns:a16="http://schemas.microsoft.com/office/drawing/2014/main" id="{FF87B699-9253-D4E3-0E29-15F536C7EED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449897"/>
            <a:ext cx="12192196" cy="158973"/>
          </a:xfrm>
          <a:prstGeom prst="rect">
            <a:avLst/>
          </a:prstGeom>
        </p:spPr>
      </p:pic>
      <p:pic>
        <p:nvPicPr>
          <p:cNvPr id="6" name="Immagine 5" descr="Immagine che contiene clipart, cartone animato, illustrazione&#10;&#10;Descrizione generata automaticamente">
            <a:extLst>
              <a:ext uri="{FF2B5EF4-FFF2-40B4-BE49-F238E27FC236}">
                <a16:creationId xmlns:a16="http://schemas.microsoft.com/office/drawing/2014/main" id="{C2BF7DAD-C6E6-706B-CF86-8DE47C9642D9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06711" y="6265495"/>
            <a:ext cx="527775" cy="5277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56795593"/>
      </p:ext>
    </p:extLst>
  </p:cSld>
  <p:clrMapOvr>
    <a:masterClrMapping/>
  </p:clrMapOvr>
  <p:transition>
    <p:fade thruBlk="1"/>
  </p:transition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 sma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DED2F203-B30E-8D19-506A-B5B93A26E62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476003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27" imgH="327" progId="TCLayout.ActiveDocument.1">
                  <p:embed/>
                </p:oleObj>
              </mc:Choice>
              <mc:Fallback>
                <p:oleObj name="think-cell Slide" r:id="rId3" imgW="327" imgH="327" progId="TCLayout.ActiveDocument.1">
                  <p:embed/>
                  <p:pic>
                    <p:nvPicPr>
                      <p:cNvPr id="12" name="Object 11" hidden="1">
                        <a:extLst>
                          <a:ext uri="{FF2B5EF4-FFF2-40B4-BE49-F238E27FC236}">
                            <a16:creationId xmlns:a16="http://schemas.microsoft.com/office/drawing/2014/main" id="{DED2F203-B30E-8D19-506A-B5B93A26E62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2C83D43-8C04-86DF-804D-F7E021360A2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0375" y="344102"/>
            <a:ext cx="9719680" cy="435376"/>
          </a:xfrm>
        </p:spPr>
        <p:txBody>
          <a:bodyPr vert="horz"/>
          <a:lstStyle>
            <a:lvl1pPr>
              <a:spcBef>
                <a:spcPts val="0"/>
              </a:spcBef>
              <a:defRPr sz="3500"/>
            </a:lvl1pPr>
          </a:lstStyle>
          <a:p>
            <a:r>
              <a:rPr lang="en-GB"/>
              <a:t>Title</a:t>
            </a:r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8A4F03D3-B983-16A7-44C0-E015CA237A6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355"/>
            <a:endParaRPr lang="en-GB">
              <a:solidFill>
                <a:srgbClr val="001739"/>
              </a:solidFill>
            </a:endParaRP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144281DA-F947-CAD7-868D-15445FE53EBF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460375" y="766763"/>
            <a:ext cx="9719680" cy="539828"/>
          </a:xfrm>
        </p:spPr>
        <p:txBody>
          <a:bodyPr wrap="square" anchor="t" anchorCtr="0">
            <a:spAutoFit/>
          </a:bodyPr>
          <a:lstStyle>
            <a:lvl1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3500" b="0">
                <a:solidFill>
                  <a:schemeClr val="accent2"/>
                </a:solidFill>
                <a:latin typeface="+mj-lt"/>
              </a:defRPr>
            </a:lvl1pPr>
            <a:lvl2pPr marL="457177" indent="0">
              <a:buNone/>
              <a:defRPr sz="2000" b="1"/>
            </a:lvl2pPr>
            <a:lvl3pPr marL="914355" indent="0">
              <a:buNone/>
              <a:defRPr sz="1800" b="1"/>
            </a:lvl3pPr>
            <a:lvl4pPr marL="1371532" indent="0">
              <a:buNone/>
              <a:defRPr sz="1600" b="1"/>
            </a:lvl4pPr>
            <a:lvl5pPr marL="1828709" indent="0">
              <a:buNone/>
              <a:defRPr sz="1600" b="1"/>
            </a:lvl5pPr>
            <a:lvl6pPr marL="2285886" indent="0">
              <a:buNone/>
              <a:defRPr sz="1600" b="1"/>
            </a:lvl6pPr>
            <a:lvl7pPr marL="2743063" indent="0">
              <a:buNone/>
              <a:defRPr sz="1600" b="1"/>
            </a:lvl7pPr>
            <a:lvl8pPr marL="3200240" indent="0">
              <a:buNone/>
              <a:defRPr sz="1600" b="1"/>
            </a:lvl8pPr>
            <a:lvl9pPr marL="3657417" indent="0">
              <a:buNone/>
              <a:defRPr sz="1600" b="1"/>
            </a:lvl9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A48C87BE-8B44-27D8-C030-7209A0F9271A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pPr defTabSz="914355"/>
            <a:fld id="{8008FCDA-A3A7-43F4-A886-F9C970867285}" type="slidenum">
              <a:rPr lang="nl-NL" smtClean="0">
                <a:solidFill>
                  <a:srgbClr val="001739"/>
                </a:solidFill>
              </a:rPr>
              <a:pPr defTabSz="914355"/>
              <a:t>‹#›</a:t>
            </a:fld>
            <a:endParaRPr lang="nl-NL">
              <a:solidFill>
                <a:srgbClr val="00173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682223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3" pos="7061">
          <p15:clr>
            <a:srgbClr val="FBAE40"/>
          </p15:clr>
        </p15:guide>
        <p15:guide id="4" orient="horz" pos="1094">
          <p15:clr>
            <a:srgbClr val="FBAE40"/>
          </p15:clr>
        </p15:guide>
        <p15:guide id="5" pos="290">
          <p15:clr>
            <a:srgbClr val="FBAE40"/>
          </p15:clr>
        </p15:guide>
        <p15:guide id="6" pos="869">
          <p15:clr>
            <a:srgbClr val="FBAE40"/>
          </p15:clr>
        </p15:guide>
        <p15:guide id="7" orient="horz" pos="3634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1">
    <p:bg>
      <p:bgPr>
        <a:solidFill>
          <a:srgbClr val="00003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4C35AC32-B67E-8740-8B72-3E0E1F31C52C}"/>
              </a:ext>
            </a:extLst>
          </p:cNvPr>
          <p:cNvSpPr/>
          <p:nvPr userDrawn="1"/>
        </p:nvSpPr>
        <p:spPr>
          <a:xfrm flipV="1">
            <a:off x="0" y="1384302"/>
            <a:ext cx="12192000" cy="5473698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17" tIns="22859" rIns="45717" bIns="2285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900"/>
          </a:p>
        </p:txBody>
      </p:sp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91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410400" y="0"/>
            <a:ext cx="11371201" cy="1323976"/>
          </a:xfrm>
        </p:spPr>
        <p:txBody>
          <a:bodyPr tIns="648000" anchor="ctr"/>
          <a:lstStyle>
            <a:lvl1pPr algn="ctr" defTabSz="457154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nl-NL" sz="3000" kern="1200" cap="all" baseline="0">
                <a:solidFill>
                  <a:schemeClr val="bg1"/>
                </a:solidFill>
                <a:latin typeface="Adobe Caslon Pro Bold" panose="0205050205050A020403" pitchFamily="18" charset="77"/>
                <a:ea typeface="+mj-ea"/>
                <a:cs typeface="+mj-cs"/>
              </a:defRPr>
            </a:lvl1pPr>
          </a:lstStyle>
          <a:p>
            <a:r>
              <a:rPr lang="nl-NL"/>
              <a:t>Klik om de stijl te bewerken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D474494D-F4CD-484B-99D7-A20B6F7F6835}"/>
              </a:ext>
            </a:extLst>
          </p:cNvPr>
          <p:cNvCxnSpPr>
            <a:cxnSpLocks/>
          </p:cNvCxnSpPr>
          <p:nvPr userDrawn="1"/>
        </p:nvCxnSpPr>
        <p:spPr>
          <a:xfrm flipH="1">
            <a:off x="0" y="1441451"/>
            <a:ext cx="12192000" cy="0"/>
          </a:xfrm>
          <a:prstGeom prst="line">
            <a:avLst/>
          </a:prstGeom>
          <a:ln w="25400">
            <a:solidFill>
              <a:srgbClr val="00003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4FF6CCB4-942D-994A-8C48-B7CDEAEB989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0400" y="1542074"/>
            <a:ext cx="11371201" cy="431792"/>
          </a:xfrm>
          <a:noFill/>
        </p:spPr>
        <p:txBody>
          <a:bodyPr anchor="t"/>
          <a:lstStyle>
            <a:lvl1pPr algn="ctr">
              <a:spcBef>
                <a:spcPts val="0"/>
              </a:spcBef>
              <a:spcAft>
                <a:spcPts val="1200"/>
              </a:spcAft>
              <a:defRPr sz="2250" b="0" i="0" cap="none" baseline="0">
                <a:latin typeface="HelveticaNeueLT Pro 63 MdEx" panose="020B0605020202020204" pitchFamily="34" charset="77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FE104045-96AE-1A49-A852-5729C615B44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203399" y="2450124"/>
            <a:ext cx="9678030" cy="3718269"/>
          </a:xfrm>
        </p:spPr>
        <p:txBody>
          <a:bodyPr anchor="t"/>
          <a:lstStyle>
            <a:lvl1pPr algn="ctr">
              <a:spcBef>
                <a:spcPts val="0"/>
              </a:spcBef>
              <a:spcAft>
                <a:spcPts val="600"/>
              </a:spcAft>
              <a:defRPr sz="1900"/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1" name="Tijdelijke aanduiding voor dianummer 3">
            <a:extLst>
              <a:ext uri="{FF2B5EF4-FFF2-40B4-BE49-F238E27FC236}">
                <a16:creationId xmlns:a16="http://schemas.microsoft.com/office/drawing/2014/main" id="{E73C49F4-150C-4502-812F-4AD3DE70B33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714732" y="6462088"/>
            <a:ext cx="1066869" cy="182563"/>
          </a:xfrm>
          <a:prstGeom prst="rect">
            <a:avLst/>
          </a:prstGeom>
        </p:spPr>
        <p:txBody>
          <a:bodyPr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fld id="{8033DDFB-1B01-F94B-833A-AB2D266BBC9E}" type="slidenum">
              <a:rPr lang="nl-NL" smtClean="0"/>
              <a:pPr/>
              <a:t>‹#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5502043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  <p15:guide id="2" pos="7680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3032D21-7260-8759-65C9-2B2E0A4203C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EAE0F23-8145-5298-7248-7F26F4E6D3F3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9D39C82-4C86-24F2-784F-354F00E8EA7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DE134C5-0D1C-1AB4-8D64-9A43F57A115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A097C-2413-4B10-874A-364B408CCC16}" type="datetimeFigureOut">
              <a:rPr lang="en-US" smtClean="0"/>
              <a:t>8/27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5E13D8F-FC7C-BF78-131F-EC709888D98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FB24269-85EE-FAFB-8FC0-5CE13CDE776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EDF751-E650-4174-8BE7-6149CB42849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2978970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B8E69D3-73ED-8C62-B776-CB9AFD0BEF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6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71C8718-A72F-2B83-526F-A53BF32EB89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9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77" indent="0">
              <a:buNone/>
              <a:defRPr sz="2000" b="1"/>
            </a:lvl2pPr>
            <a:lvl3pPr marL="914355" indent="0">
              <a:buNone/>
              <a:defRPr sz="1800" b="1"/>
            </a:lvl3pPr>
            <a:lvl4pPr marL="1371532" indent="0">
              <a:buNone/>
              <a:defRPr sz="1600" b="1"/>
            </a:lvl4pPr>
            <a:lvl5pPr marL="1828709" indent="0">
              <a:buNone/>
              <a:defRPr sz="1600" b="1"/>
            </a:lvl5pPr>
            <a:lvl6pPr marL="2285886" indent="0">
              <a:buNone/>
              <a:defRPr sz="1600" b="1"/>
            </a:lvl6pPr>
            <a:lvl7pPr marL="2743063" indent="0">
              <a:buNone/>
              <a:defRPr sz="1600" b="1"/>
            </a:lvl7pPr>
            <a:lvl8pPr marL="3200240" indent="0">
              <a:buNone/>
              <a:defRPr sz="1600" b="1"/>
            </a:lvl8pPr>
            <a:lvl9pPr marL="3657417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5CFF08B-F504-A9E3-CB51-99B318D6BFA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9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8945C6F-CD00-068A-5EA6-D216C2366298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77" indent="0">
              <a:buNone/>
              <a:defRPr sz="2000" b="1"/>
            </a:lvl2pPr>
            <a:lvl3pPr marL="914355" indent="0">
              <a:buNone/>
              <a:defRPr sz="1800" b="1"/>
            </a:lvl3pPr>
            <a:lvl4pPr marL="1371532" indent="0">
              <a:buNone/>
              <a:defRPr sz="1600" b="1"/>
            </a:lvl4pPr>
            <a:lvl5pPr marL="1828709" indent="0">
              <a:buNone/>
              <a:defRPr sz="1600" b="1"/>
            </a:lvl5pPr>
            <a:lvl6pPr marL="2285886" indent="0">
              <a:buNone/>
              <a:defRPr sz="1600" b="1"/>
            </a:lvl6pPr>
            <a:lvl7pPr marL="2743063" indent="0">
              <a:buNone/>
              <a:defRPr sz="1600" b="1"/>
            </a:lvl7pPr>
            <a:lvl8pPr marL="3200240" indent="0">
              <a:buNone/>
              <a:defRPr sz="1600" b="1"/>
            </a:lvl8pPr>
            <a:lvl9pPr marL="3657417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07BFA99D-39E6-C842-0E97-B59915A00887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D8DBBE6B-4954-3BE5-37D7-D86F6A456FA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A097C-2413-4B10-874A-364B408CCC16}" type="datetimeFigureOut">
              <a:rPr lang="en-US" smtClean="0"/>
              <a:t>8/27/2025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B8FF4865-3AC3-C730-28DA-F832E3F7EA7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4F75822C-4388-DBB0-290C-9704FD3C3FF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EDF751-E650-4174-8BE7-6149CB42849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5296720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023383F-E316-0526-5D59-D004A22813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35DBD7E-014F-FDD5-0BE1-357B2FD40D5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A097C-2413-4B10-874A-364B408CCC16}" type="datetimeFigureOut">
              <a:rPr lang="en-US" smtClean="0"/>
              <a:t>8/27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85C8952-46E2-A7C9-8BA3-6A11828AC2B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42043F9-E031-C648-15C1-5D0B45CE02F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EDF751-E650-4174-8BE7-6149CB42849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8053405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3D17200F-30E9-D09D-E03B-DC9431716EC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A097C-2413-4B10-874A-364B408CCC16}" type="datetimeFigureOut">
              <a:rPr lang="en-US" smtClean="0"/>
              <a:t>8/2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549D573-4CA7-C5CB-9EA0-CDBD3C9AE67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492ABE8-34D7-72DB-A169-0C980A17D6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EDF751-E650-4174-8BE7-6149CB42849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9400712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D080907-E99D-B08F-5A7A-92777C12419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9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0EAF004-0697-1F99-05DB-FD991844F84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6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7AEB1E9-6043-BE50-48B8-4EE2B97FDBF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9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177" indent="0">
              <a:buNone/>
              <a:defRPr sz="1400"/>
            </a:lvl2pPr>
            <a:lvl3pPr marL="914355" indent="0">
              <a:buNone/>
              <a:defRPr sz="1200"/>
            </a:lvl3pPr>
            <a:lvl4pPr marL="1371532" indent="0">
              <a:buNone/>
              <a:defRPr sz="1000"/>
            </a:lvl4pPr>
            <a:lvl5pPr marL="1828709" indent="0">
              <a:buNone/>
              <a:defRPr sz="1000"/>
            </a:lvl5pPr>
            <a:lvl6pPr marL="2285886" indent="0">
              <a:buNone/>
              <a:defRPr sz="1000"/>
            </a:lvl6pPr>
            <a:lvl7pPr marL="2743063" indent="0">
              <a:buNone/>
              <a:defRPr sz="1000"/>
            </a:lvl7pPr>
            <a:lvl8pPr marL="3200240" indent="0">
              <a:buNone/>
              <a:defRPr sz="1000"/>
            </a:lvl8pPr>
            <a:lvl9pPr marL="3657417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3522C7F-5957-A0C9-280B-4AA1F569897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A097C-2413-4B10-874A-364B408CCC16}" type="datetimeFigureOut">
              <a:rPr lang="en-US" smtClean="0"/>
              <a:t>8/27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113A185-B503-AF39-4EA2-6F3B5D25DA7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FB34731-2AF7-4DAB-74CC-786AC48C7C6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EDF751-E650-4174-8BE7-6149CB42849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5647777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55E1172-D48A-3441-2EA4-F8E1C0CD80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9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4066A466-CAEA-4AEA-E2F5-DE40D2626E60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6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177" indent="0">
              <a:buNone/>
              <a:defRPr sz="2800"/>
            </a:lvl2pPr>
            <a:lvl3pPr marL="914355" indent="0">
              <a:buNone/>
              <a:defRPr sz="2400"/>
            </a:lvl3pPr>
            <a:lvl4pPr marL="1371532" indent="0">
              <a:buNone/>
              <a:defRPr sz="2000"/>
            </a:lvl4pPr>
            <a:lvl5pPr marL="1828709" indent="0">
              <a:buNone/>
              <a:defRPr sz="2000"/>
            </a:lvl5pPr>
            <a:lvl6pPr marL="2285886" indent="0">
              <a:buNone/>
              <a:defRPr sz="2000"/>
            </a:lvl6pPr>
            <a:lvl7pPr marL="2743063" indent="0">
              <a:buNone/>
              <a:defRPr sz="2000"/>
            </a:lvl7pPr>
            <a:lvl8pPr marL="3200240" indent="0">
              <a:buNone/>
              <a:defRPr sz="2000"/>
            </a:lvl8pPr>
            <a:lvl9pPr marL="3657417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92F2AF9-B781-15EC-18DF-DE1588C7AD2D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9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177" indent="0">
              <a:buNone/>
              <a:defRPr sz="1400"/>
            </a:lvl2pPr>
            <a:lvl3pPr marL="914355" indent="0">
              <a:buNone/>
              <a:defRPr sz="1200"/>
            </a:lvl3pPr>
            <a:lvl4pPr marL="1371532" indent="0">
              <a:buNone/>
              <a:defRPr sz="1000"/>
            </a:lvl4pPr>
            <a:lvl5pPr marL="1828709" indent="0">
              <a:buNone/>
              <a:defRPr sz="1000"/>
            </a:lvl5pPr>
            <a:lvl6pPr marL="2285886" indent="0">
              <a:buNone/>
              <a:defRPr sz="1000"/>
            </a:lvl6pPr>
            <a:lvl7pPr marL="2743063" indent="0">
              <a:buNone/>
              <a:defRPr sz="1000"/>
            </a:lvl7pPr>
            <a:lvl8pPr marL="3200240" indent="0">
              <a:buNone/>
              <a:defRPr sz="1000"/>
            </a:lvl8pPr>
            <a:lvl9pPr marL="3657417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74766E9-984D-6E12-80B4-08E84CC8B0A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A097C-2413-4B10-874A-364B408CCC16}" type="datetimeFigureOut">
              <a:rPr lang="en-US" smtClean="0"/>
              <a:t>8/27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A3328E5-F03B-8CBE-5B38-B3E7EF4C65A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10D4527-4590-9AC3-13AF-C432BF5EB0D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EDF751-E650-4174-8BE7-6149CB42849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6465193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theme" Target="../theme/theme1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51210371-27E9-FC1F-9DA1-1121B62D1B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331DB2E-E0BB-29DE-AF58-4A0CCBFAB38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AFE29E6-A196-B997-8232-22DD8E91FF2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886A097C-2413-4B10-874A-364B408CCC16}" type="datetimeFigureOut">
              <a:rPr lang="en-US" smtClean="0"/>
              <a:t>8/27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D02C86A-E2AD-088C-0EB5-C92DA9010FC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1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713F4CA-603C-DBF1-29BC-EC7DBF9109D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0FEDF751-E650-4174-8BE7-6149CB42849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952576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  <p:sldLayoutId id="2147483683" r:id="rId23"/>
    <p:sldLayoutId id="2147483684" r:id="rId24"/>
    <p:sldLayoutId id="2147483685" r:id="rId25"/>
    <p:sldLayoutId id="2147483686" r:id="rId26"/>
    <p:sldLayoutId id="2147483687" r:id="rId27"/>
    <p:sldLayoutId id="2147483688" r:id="rId28"/>
    <p:sldLayoutId id="2147483689" r:id="rId29"/>
    <p:sldLayoutId id="2147483690" r:id="rId30"/>
    <p:sldLayoutId id="2147483691" r:id="rId31"/>
    <p:sldLayoutId id="2147483692" r:id="rId32"/>
    <p:sldLayoutId id="2147483693" r:id="rId33"/>
    <p:sldLayoutId id="2147483694" r:id="rId34"/>
    <p:sldLayoutId id="2147483695" r:id="rId35"/>
    <p:sldLayoutId id="2147483696" r:id="rId36"/>
    <p:sldLayoutId id="2147483697" r:id="rId37"/>
    <p:sldLayoutId id="2147483698" r:id="rId38"/>
  </p:sldLayoutIdLst>
  <p:txStyles>
    <p:titleStyle>
      <a:lvl1pPr algn="l" defTabSz="457200" rtl="0" eaLnBrk="1" latinLnBrk="0" hangingPunct="1">
        <a:lnSpc>
          <a:spcPct val="90000"/>
        </a:lnSpc>
        <a:spcBef>
          <a:spcPct val="0"/>
        </a:spcBef>
        <a:buNone/>
        <a:defRPr sz="22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14300" indent="-114300" algn="l" defTabSz="4572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indent="-114300" algn="l" defTabSz="457200" rtl="0" eaLnBrk="1" latinLnBrk="0" hangingPunct="1">
        <a:lnSpc>
          <a:spcPct val="90000"/>
        </a:lnSpc>
        <a:spcBef>
          <a:spcPts val="25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571500" indent="-114300" algn="l" defTabSz="457200" rtl="0" eaLnBrk="1" latinLnBrk="0" hangingPunct="1">
        <a:lnSpc>
          <a:spcPct val="90000"/>
        </a:lnSpc>
        <a:spcBef>
          <a:spcPts val="250"/>
        </a:spcBef>
        <a:buFont typeface="Arial" panose="020B0604020202020204" pitchFamily="34" charset="0"/>
        <a:buChar char="•"/>
        <a:defRPr sz="1000" kern="1200">
          <a:solidFill>
            <a:schemeClr val="tx1"/>
          </a:solidFill>
          <a:latin typeface="+mn-lt"/>
          <a:ea typeface="+mn-ea"/>
          <a:cs typeface="+mn-cs"/>
        </a:defRPr>
      </a:lvl3pPr>
      <a:lvl4pPr marL="800100" indent="-114300" algn="l" defTabSz="457200" rtl="0" eaLnBrk="1" latinLnBrk="0" hangingPunct="1">
        <a:lnSpc>
          <a:spcPct val="90000"/>
        </a:lnSpc>
        <a:spcBef>
          <a:spcPts val="250"/>
        </a:spcBef>
        <a:buFont typeface="Arial" panose="020B0604020202020204" pitchFamily="34" charset="0"/>
        <a:buChar char="•"/>
        <a:defRPr sz="900" kern="1200">
          <a:solidFill>
            <a:schemeClr val="tx1"/>
          </a:solidFill>
          <a:latin typeface="+mn-lt"/>
          <a:ea typeface="+mn-ea"/>
          <a:cs typeface="+mn-cs"/>
        </a:defRPr>
      </a:lvl4pPr>
      <a:lvl5pPr marL="1028700" indent="-114300" algn="l" defTabSz="457200" rtl="0" eaLnBrk="1" latinLnBrk="0" hangingPunct="1">
        <a:lnSpc>
          <a:spcPct val="90000"/>
        </a:lnSpc>
        <a:spcBef>
          <a:spcPts val="250"/>
        </a:spcBef>
        <a:buFont typeface="Arial" panose="020B0604020202020204" pitchFamily="34" charset="0"/>
        <a:buChar char="•"/>
        <a:defRPr sz="900" kern="1200">
          <a:solidFill>
            <a:schemeClr val="tx1"/>
          </a:solidFill>
          <a:latin typeface="+mn-lt"/>
          <a:ea typeface="+mn-ea"/>
          <a:cs typeface="+mn-cs"/>
        </a:defRPr>
      </a:lvl5pPr>
      <a:lvl6pPr marL="1257300" indent="-114300" algn="l" defTabSz="457200" rtl="0" eaLnBrk="1" latinLnBrk="0" hangingPunct="1">
        <a:lnSpc>
          <a:spcPct val="90000"/>
        </a:lnSpc>
        <a:spcBef>
          <a:spcPts val="250"/>
        </a:spcBef>
        <a:buFont typeface="Arial" panose="020B0604020202020204" pitchFamily="34" charset="0"/>
        <a:buChar char="•"/>
        <a:defRPr sz="900" kern="1200">
          <a:solidFill>
            <a:schemeClr val="tx1"/>
          </a:solidFill>
          <a:latin typeface="+mn-lt"/>
          <a:ea typeface="+mn-ea"/>
          <a:cs typeface="+mn-cs"/>
        </a:defRPr>
      </a:lvl6pPr>
      <a:lvl7pPr marL="1485900" indent="-114300" algn="l" defTabSz="457200" rtl="0" eaLnBrk="1" latinLnBrk="0" hangingPunct="1">
        <a:lnSpc>
          <a:spcPct val="90000"/>
        </a:lnSpc>
        <a:spcBef>
          <a:spcPts val="250"/>
        </a:spcBef>
        <a:buFont typeface="Arial" panose="020B0604020202020204" pitchFamily="34" charset="0"/>
        <a:buChar char="•"/>
        <a:defRPr sz="900" kern="1200">
          <a:solidFill>
            <a:schemeClr val="tx1"/>
          </a:solidFill>
          <a:latin typeface="+mn-lt"/>
          <a:ea typeface="+mn-ea"/>
          <a:cs typeface="+mn-cs"/>
        </a:defRPr>
      </a:lvl7pPr>
      <a:lvl8pPr marL="1714500" indent="-114300" algn="l" defTabSz="457200" rtl="0" eaLnBrk="1" latinLnBrk="0" hangingPunct="1">
        <a:lnSpc>
          <a:spcPct val="90000"/>
        </a:lnSpc>
        <a:spcBef>
          <a:spcPts val="250"/>
        </a:spcBef>
        <a:buFont typeface="Arial" panose="020B0604020202020204" pitchFamily="34" charset="0"/>
        <a:buChar char="•"/>
        <a:defRPr sz="900" kern="1200">
          <a:solidFill>
            <a:schemeClr val="tx1"/>
          </a:solidFill>
          <a:latin typeface="+mn-lt"/>
          <a:ea typeface="+mn-ea"/>
          <a:cs typeface="+mn-cs"/>
        </a:defRPr>
      </a:lvl8pPr>
      <a:lvl9pPr marL="1943100" indent="-114300" algn="l" defTabSz="457200" rtl="0" eaLnBrk="1" latinLnBrk="0" hangingPunct="1">
        <a:lnSpc>
          <a:spcPct val="90000"/>
        </a:lnSpc>
        <a:spcBef>
          <a:spcPts val="250"/>
        </a:spcBef>
        <a:buFont typeface="Arial" panose="020B0604020202020204" pitchFamily="34" charset="0"/>
        <a:buChar char="•"/>
        <a:defRPr sz="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1pPr>
      <a:lvl2pPr marL="228600" algn="l" defTabSz="4572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2pPr>
      <a:lvl3pPr marL="457200" algn="l" defTabSz="4572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3pPr>
      <a:lvl4pPr marL="685800" algn="l" defTabSz="4572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4pPr>
      <a:lvl5pPr marL="914400" algn="l" defTabSz="4572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5pPr>
      <a:lvl6pPr marL="1143000" algn="l" defTabSz="4572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6pPr>
      <a:lvl7pPr marL="1371600" algn="l" defTabSz="4572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7pPr>
      <a:lvl8pPr marL="1600200" algn="l" defTabSz="4572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8pPr>
      <a:lvl9pPr marL="1828800" algn="l" defTabSz="4572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image" Target="../media/image6.jpeg"/><Relationship Id="rId7" Type="http://schemas.openxmlformats.org/officeDocument/2006/relationships/image" Target="../media/image10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9.jpeg"/><Relationship Id="rId5" Type="http://schemas.openxmlformats.org/officeDocument/2006/relationships/image" Target="../media/image8.svg"/><Relationship Id="rId4" Type="http://schemas.openxmlformats.org/officeDocument/2006/relationships/image" Target="../media/image7.png"/><Relationship Id="rId9" Type="http://schemas.openxmlformats.org/officeDocument/2006/relationships/image" Target="../media/image12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9C5FA7F1-1C27-79FC-56E1-10A64418025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Google Shape;242;p16">
            <a:extLst>
              <a:ext uri="{FF2B5EF4-FFF2-40B4-BE49-F238E27FC236}">
                <a16:creationId xmlns:a16="http://schemas.microsoft.com/office/drawing/2014/main" id="{FE1C4490-70F1-F544-3006-DAB54A2BF374}"/>
              </a:ext>
            </a:extLst>
          </p:cNvPr>
          <p:cNvSpPr txBox="1">
            <a:spLocks/>
          </p:cNvSpPr>
          <p:nvPr/>
        </p:nvSpPr>
        <p:spPr>
          <a:xfrm>
            <a:off x="4553715" y="134430"/>
            <a:ext cx="6425015" cy="200768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892" tIns="121892" rIns="121892" bIns="121892" anchor="t" anchorCtr="0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Pts val="990"/>
              <a:buFontTx/>
              <a:buNone/>
              <a:tabLst/>
              <a:defRPr/>
            </a:pPr>
            <a:r>
              <a:rPr kumimoji="0" lang="en-US" sz="4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Raleway"/>
                <a:ea typeface="Raleway"/>
                <a:cs typeface="Raleway"/>
                <a:sym typeface="Raleway"/>
              </a:rPr>
              <a:t>RF TARGET ACCOUNTS </a:t>
            </a:r>
          </a:p>
        </p:txBody>
      </p:sp>
      <p:sp>
        <p:nvSpPr>
          <p:cNvPr id="17" name="Arrow: Chevron 1">
            <a:extLst>
              <a:ext uri="{FF2B5EF4-FFF2-40B4-BE49-F238E27FC236}">
                <a16:creationId xmlns:a16="http://schemas.microsoft.com/office/drawing/2014/main" id="{959233BE-3795-8869-1DD9-548A2C02A146}"/>
              </a:ext>
            </a:extLst>
          </p:cNvPr>
          <p:cNvSpPr/>
          <p:nvPr/>
        </p:nvSpPr>
        <p:spPr>
          <a:xfrm>
            <a:off x="400376" y="253585"/>
            <a:ext cx="3207400" cy="910379"/>
          </a:xfrm>
          <a:prstGeom prst="chevron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1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A2E03383-E2BA-6629-2804-D13980BC4287}"/>
              </a:ext>
            </a:extLst>
          </p:cNvPr>
          <p:cNvSpPr txBox="1"/>
          <p:nvPr/>
        </p:nvSpPr>
        <p:spPr>
          <a:xfrm>
            <a:off x="631902" y="266496"/>
            <a:ext cx="2783140" cy="1708160"/>
          </a:xfrm>
          <a:prstGeom prst="rect">
            <a:avLst/>
          </a:prstGeom>
          <a:noFill/>
        </p:spPr>
        <p:txBody>
          <a:bodyPr wrap="square" lIns="45720" tIns="22860" rIns="45720" bIns="22860" rtlCol="0" anchor="t">
            <a:spAutoFit/>
          </a:bodyPr>
          <a:lstStyle/>
          <a:p>
            <a:pPr marL="0" marR="0" lvl="0" indent="0" algn="ctr" defTabSz="4571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000" b="1" i="0" u="none" strike="noStrike" kern="1200" cap="none" spc="0" normalizeH="0" baseline="0" noProof="0">
                <a:ln>
                  <a:noFill/>
                </a:ln>
                <a:solidFill>
                  <a:srgbClr val="000032"/>
                </a:solidFill>
                <a:effectLst/>
                <a:uLnTx/>
                <a:uFillTx/>
                <a:latin typeface="Aptos"/>
                <a:ea typeface="Calibri"/>
                <a:cs typeface="Calibri"/>
              </a:rPr>
              <a:t>TRIAL</a:t>
            </a:r>
            <a:endParaRPr kumimoji="0" lang="en-US" sz="2400" b="1" i="0" u="none" strike="noStrike" kern="1200" cap="none" spc="0" normalizeH="0" baseline="0" noProof="0">
              <a:ln>
                <a:noFill/>
              </a:ln>
              <a:solidFill>
                <a:srgbClr val="000032"/>
              </a:solidFill>
              <a:effectLst/>
              <a:uLnTx/>
              <a:uFillTx/>
              <a:latin typeface="Aptos"/>
              <a:ea typeface="Calibri"/>
              <a:cs typeface="Calibri"/>
            </a:endParaRPr>
          </a:p>
          <a:p>
            <a:pPr marL="0" marR="0" lvl="0" indent="0" algn="ctr" defTabSz="4571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000032"/>
                </a:solidFill>
                <a:effectLst/>
                <a:uLnTx/>
                <a:uFillTx/>
                <a:latin typeface="Aptos"/>
                <a:ea typeface="Calibri"/>
                <a:cs typeface="Calibri"/>
              </a:rPr>
              <a:t>ON PREMISE</a:t>
            </a:r>
          </a:p>
          <a:p>
            <a:pPr marL="285750" marR="0" lvl="0" indent="-285750" algn="ctr" defTabSz="4571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27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Calibri"/>
              <a:cs typeface="Calibri"/>
            </a:endParaRPr>
          </a:p>
          <a:p>
            <a:pPr marL="285750" marR="0" lvl="0" indent="-285750" algn="ctr" defTabSz="4571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27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Calibri"/>
              <a:cs typeface="Calibri"/>
            </a:endParaRPr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A35F7E5A-F4F7-020E-0E85-9C9B2F2D5AA6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 l="8692" t="11881" r="7906" b="16196"/>
          <a:stretch/>
        </p:blipFill>
        <p:spPr>
          <a:xfrm>
            <a:off x="11228682" y="240431"/>
            <a:ext cx="640846" cy="552656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AD3E78A4-BEE5-DE3D-0E8B-15283E6B8B49}"/>
              </a:ext>
            </a:extLst>
          </p:cNvPr>
          <p:cNvSpPr txBox="1"/>
          <p:nvPr/>
        </p:nvSpPr>
        <p:spPr>
          <a:xfrm>
            <a:off x="1031508" y="1428376"/>
            <a:ext cx="6097772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4571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622AE596-73DE-9787-FAB2-B71BA48285CD}"/>
              </a:ext>
            </a:extLst>
          </p:cNvPr>
          <p:cNvSpPr txBox="1"/>
          <p:nvPr/>
        </p:nvSpPr>
        <p:spPr>
          <a:xfrm>
            <a:off x="1603215" y="4181993"/>
            <a:ext cx="4341221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4571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High End Hotel Bars 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77D2D95E-5973-5AC4-DD92-4897043C97CE}"/>
              </a:ext>
            </a:extLst>
          </p:cNvPr>
          <p:cNvSpPr txBox="1"/>
          <p:nvPr/>
        </p:nvSpPr>
        <p:spPr>
          <a:xfrm>
            <a:off x="1603215" y="1333716"/>
            <a:ext cx="4341221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4571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Craft Cocktail Bars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2A42142F-22E1-0371-98FE-D9D9CC75CC90}"/>
              </a:ext>
            </a:extLst>
          </p:cNvPr>
          <p:cNvSpPr txBox="1"/>
          <p:nvPr/>
        </p:nvSpPr>
        <p:spPr>
          <a:xfrm>
            <a:off x="5760114" y="1276797"/>
            <a:ext cx="4863015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4571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Upscale Mexican Restaurants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0D4D5C6F-E747-511A-E2AB-B92C884860C2}"/>
              </a:ext>
            </a:extLst>
          </p:cNvPr>
          <p:cNvSpPr txBox="1"/>
          <p:nvPr/>
        </p:nvSpPr>
        <p:spPr>
          <a:xfrm>
            <a:off x="6310948" y="4064858"/>
            <a:ext cx="4340939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4571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Steak Houses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327BDE67-9342-7CEE-BAB3-0641980A4FA3}"/>
              </a:ext>
            </a:extLst>
          </p:cNvPr>
          <p:cNvSpPr txBox="1"/>
          <p:nvPr/>
        </p:nvSpPr>
        <p:spPr>
          <a:xfrm>
            <a:off x="4528653" y="715941"/>
            <a:ext cx="6094476" cy="4308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2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AND SUGGESTED COCKTAIL VARIATIONS</a:t>
            </a:r>
          </a:p>
        </p:txBody>
      </p:sp>
      <p:pic>
        <p:nvPicPr>
          <p:cNvPr id="1026" name="Picture 2" descr="Gorgeous New Modern Mexican Restaurant Mirame Comes to Beverly Hills ...">
            <a:extLst>
              <a:ext uri="{FF2B5EF4-FFF2-40B4-BE49-F238E27FC236}">
                <a16:creationId xmlns:a16="http://schemas.microsoft.com/office/drawing/2014/main" id="{28194A40-566D-CBF6-973B-BD27BBD1374B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2185"/>
          <a:stretch/>
        </p:blipFill>
        <p:spPr bwMode="auto">
          <a:xfrm>
            <a:off x="6210007" y="1763040"/>
            <a:ext cx="4318119" cy="22431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Hospitality Operational Efficiency and Review | hotelAVE">
            <a:extLst>
              <a:ext uri="{FF2B5EF4-FFF2-40B4-BE49-F238E27FC236}">
                <a16:creationId xmlns:a16="http://schemas.microsoft.com/office/drawing/2014/main" id="{1FFF03FF-4A64-1395-7DCD-1A4CADCB8CB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4581"/>
          <a:stretch/>
        </p:blipFill>
        <p:spPr bwMode="auto">
          <a:xfrm>
            <a:off x="1603215" y="4580308"/>
            <a:ext cx="4341221" cy="20757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52492B17-1D9F-BB03-6680-C566876BC838}"/>
              </a:ext>
            </a:extLst>
          </p:cNvPr>
          <p:cNvSpPr txBox="1"/>
          <p:nvPr/>
        </p:nvSpPr>
        <p:spPr>
          <a:xfrm>
            <a:off x="134189" y="2053310"/>
            <a:ext cx="1353263" cy="147732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RF Old Fashioned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RF </a:t>
            </a:r>
            <a:r>
              <a:rPr kumimoji="0" lang="en-US" sz="1800" b="0" i="0" u="none" strike="noStrike" kern="10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Cristalino</a:t>
            </a:r>
            <a:r>
              <a:rPr kumimoji="0" lang="en-US" sz="1800" b="0" i="0" u="none" strike="noStrike" kern="1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Margarita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2F00B62E-DBCB-F21B-C417-2B85022E6E7C}"/>
              </a:ext>
            </a:extLst>
          </p:cNvPr>
          <p:cNvSpPr txBox="1"/>
          <p:nvPr/>
        </p:nvSpPr>
        <p:spPr>
          <a:xfrm>
            <a:off x="10666001" y="2078672"/>
            <a:ext cx="1451402" cy="147732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RF Reposado Paloma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RF </a:t>
            </a:r>
            <a:r>
              <a:rPr kumimoji="0" lang="en-US" sz="1800" b="0" i="0" u="none" strike="noStrike" kern="10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Añejo</a:t>
            </a:r>
            <a:r>
              <a:rPr kumimoji="0" lang="en-US" sz="1800" b="0" i="0" u="none" strike="noStrike" kern="1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Sour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722E22B4-2FCC-0B46-DBD2-B5A0C074427B}"/>
              </a:ext>
            </a:extLst>
          </p:cNvPr>
          <p:cNvSpPr txBox="1"/>
          <p:nvPr/>
        </p:nvSpPr>
        <p:spPr>
          <a:xfrm>
            <a:off x="0" y="4733082"/>
            <a:ext cx="1707174" cy="175432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RF </a:t>
            </a:r>
            <a:r>
              <a:rPr kumimoji="0" lang="en-US" sz="1800" b="0" i="0" u="none" strike="noStrike" kern="10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Cristalino</a:t>
            </a:r>
            <a:r>
              <a:rPr kumimoji="0" lang="en-US" sz="1800" b="0" i="0" u="none" strike="noStrike" kern="1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Fizz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RF Smoky Reposado Margarita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622B09EE-5646-0605-5073-950ADD7D560E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210007" y="4580308"/>
            <a:ext cx="4318119" cy="2075763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C552E953-2F46-73AB-B274-E37E79D19827}"/>
              </a:ext>
            </a:extLst>
          </p:cNvPr>
          <p:cNvSpPr txBox="1"/>
          <p:nvPr/>
        </p:nvSpPr>
        <p:spPr>
          <a:xfrm>
            <a:off x="10600610" y="4580308"/>
            <a:ext cx="1500885" cy="230832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RF Old Fashioned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Served On the rocks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4" name="Picture 3" descr="A person pouring a drink into a row of glasses&#10;&#10;AI-generated content may be incorrect.">
            <a:extLst>
              <a:ext uri="{FF2B5EF4-FFF2-40B4-BE49-F238E27FC236}">
                <a16:creationId xmlns:a16="http://schemas.microsoft.com/office/drawing/2014/main" id="{80D3D890-CE03-8CBC-91EB-58C7248C7EA5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03215" y="1763040"/>
            <a:ext cx="4341221" cy="22396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598306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0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51</Words>
  <Application>Microsoft Office PowerPoint</Application>
  <PresentationFormat>Widescreen</PresentationFormat>
  <Paragraphs>23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10" baseType="lpstr">
      <vt:lpstr>Adobe Caslon Pro Bold</vt:lpstr>
      <vt:lpstr>Aptos</vt:lpstr>
      <vt:lpstr>Aptos Display</vt:lpstr>
      <vt:lpstr>Arial</vt:lpstr>
      <vt:lpstr>Calibri</vt:lpstr>
      <vt:lpstr>HelveticaNeueLT Pro 63 MdEx</vt:lpstr>
      <vt:lpstr>Raleway</vt:lpstr>
      <vt:lpstr>1_Office Theme</vt:lpstr>
      <vt:lpstr>think-cell Slide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Ignacio Llaneza</dc:creator>
  <cp:lastModifiedBy>Ignacio Llaneza</cp:lastModifiedBy>
  <cp:revision>1</cp:revision>
  <dcterms:created xsi:type="dcterms:W3CDTF">2025-08-27T17:33:37Z</dcterms:created>
  <dcterms:modified xsi:type="dcterms:W3CDTF">2025-08-27T17:33:56Z</dcterms:modified>
</cp:coreProperties>
</file>